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7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260C9C-A1A0-BDC4-1296-D293DFD0A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16B74B-E4BC-F066-C032-A339FE6281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16B74B-E4BC-F066-C032-A339FE628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8351D376-E02B-E74A-2186-31598E6DD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</a:t>
            </a:r>
            <a:endParaRPr lang="en-IN" dirty="0"/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78753E5D-EFF0-B65A-672B-2949C74506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1C11ACD9-1F75-BE38-03EA-0D03A97C5B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-title text styles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04CAEFC-9C43-E6C2-497E-C95CBA30721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</a:t>
            </a:r>
            <a:br>
              <a:rPr lang="en-US" dirty="0"/>
            </a:br>
            <a:r>
              <a:rPr lang="en-US" dirty="0"/>
              <a:t>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br>
              <a:rPr lang="en-US" dirty="0"/>
            </a:br>
            <a:r>
              <a:rPr lang="en-US" dirty="0"/>
              <a:t>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</a:t>
            </a:r>
            <a:br>
              <a:rPr lang="en-US" dirty="0"/>
            </a:br>
            <a:r>
              <a:rPr lang="en-US" dirty="0"/>
              <a:t>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pic>
        <p:nvPicPr>
          <p:cNvPr id="446" name="Picture Placeholder 445">
            <a:extLst>
              <a:ext uri="{FF2B5EF4-FFF2-40B4-BE49-F238E27FC236}">
                <a16:creationId xmlns:a16="http://schemas.microsoft.com/office/drawing/2014/main" id="{25288B03-1D0A-CA22-3EC6-D007847E874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-12126" b="-12126"/>
          <a:stretch>
            <a:fillRect/>
          </a:stretch>
        </p:blipFill>
        <p:spPr>
          <a:xfrm>
            <a:off x="4805363" y="1720850"/>
            <a:ext cx="6832600" cy="4456113"/>
          </a:xfrm>
        </p:spPr>
      </p:pic>
      <p:sp>
        <p:nvSpPr>
          <p:cNvPr id="447" name="Slide Number Placeholder 446">
            <a:extLst>
              <a:ext uri="{FF2B5EF4-FFF2-40B4-BE49-F238E27FC236}">
                <a16:creationId xmlns:a16="http://schemas.microsoft.com/office/drawing/2014/main" id="{B5CD1209-546B-8DB7-CF87-748229831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3229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102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34</cp:revision>
  <dcterms:created xsi:type="dcterms:W3CDTF">2025-07-09T10:57:17Z</dcterms:created>
  <dcterms:modified xsi:type="dcterms:W3CDTF">2025-10-22T09:40:37Z</dcterms:modified>
  <cp:category/>
</cp:coreProperties>
</file>